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3"/>
  </p:notesMasterIdLst>
  <p:sldIdLst>
    <p:sldId id="1442" r:id="rId2"/>
    <p:sldId id="1563" r:id="rId3"/>
    <p:sldId id="1555" r:id="rId4"/>
    <p:sldId id="1553" r:id="rId5"/>
    <p:sldId id="711" r:id="rId6"/>
    <p:sldId id="712" r:id="rId7"/>
    <p:sldId id="1557" r:id="rId8"/>
    <p:sldId id="1545" r:id="rId9"/>
    <p:sldId id="1548" r:id="rId10"/>
    <p:sldId id="1558" r:id="rId11"/>
    <p:sldId id="1546" r:id="rId12"/>
    <p:sldId id="1547" r:id="rId13"/>
    <p:sldId id="1565" r:id="rId14"/>
    <p:sldId id="1564" r:id="rId15"/>
    <p:sldId id="1566" r:id="rId16"/>
    <p:sldId id="1554" r:id="rId17"/>
    <p:sldId id="470" r:id="rId18"/>
    <p:sldId id="1561" r:id="rId19"/>
    <p:sldId id="2273" r:id="rId20"/>
    <p:sldId id="1559" r:id="rId21"/>
    <p:sldId id="2274" r:id="rId22"/>
    <p:sldId id="1590" r:id="rId23"/>
    <p:sldId id="1562" r:id="rId24"/>
    <p:sldId id="2275" r:id="rId25"/>
    <p:sldId id="2276" r:id="rId26"/>
    <p:sldId id="1556" r:id="rId27"/>
    <p:sldId id="704" r:id="rId28"/>
    <p:sldId id="595" r:id="rId29"/>
    <p:sldId id="600" r:id="rId30"/>
    <p:sldId id="520" r:id="rId31"/>
    <p:sldId id="1489" r:id="rId32"/>
  </p:sldIdLst>
  <p:sldSz cx="9144000" cy="6858000" type="screen4x3"/>
  <p:notesSz cx="7077075" cy="9363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B7F95"/>
    <a:srgbClr val="001484"/>
    <a:srgbClr val="003398"/>
    <a:srgbClr val="71A1A7"/>
    <a:srgbClr val="D5E3E5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1" d="100"/>
          <a:sy n="71" d="100"/>
        </p:scale>
        <p:origin x="-510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6733" cy="469780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5" y="0"/>
            <a:ext cx="3066733" cy="469780"/>
          </a:xfrm>
          <a:prstGeom prst="rect">
            <a:avLst/>
          </a:prstGeom>
        </p:spPr>
        <p:txBody>
          <a:bodyPr vert="horz" lIns="93936" tIns="46968" rIns="93936" bIns="46968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1/2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31925" y="1169988"/>
            <a:ext cx="4213225" cy="3160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36" tIns="46968" rIns="93936" bIns="4696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505980"/>
            <a:ext cx="5661660" cy="3686711"/>
          </a:xfrm>
          <a:prstGeom prst="rect">
            <a:avLst/>
          </a:prstGeom>
        </p:spPr>
        <p:txBody>
          <a:bodyPr vert="horz" lIns="93936" tIns="46968" rIns="93936" bIns="4696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93297"/>
            <a:ext cx="3066733" cy="469779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5" y="8893297"/>
            <a:ext cx="3066733" cy="469779"/>
          </a:xfrm>
          <a:prstGeom prst="rect">
            <a:avLst/>
          </a:prstGeom>
        </p:spPr>
        <p:txBody>
          <a:bodyPr vert="horz" lIns="93936" tIns="46968" rIns="93936" bIns="46968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2500" y="757238"/>
            <a:ext cx="5043488" cy="3784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143">
              <a:defRPr/>
            </a:pPr>
            <a:fld id="{63753C7C-051F-448F-85E3-0788B8A06C0D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57143">
                <a:defRPr/>
              </a:pPr>
              <a:t>30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7151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7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8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82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5359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4D20FEE-39B3-4095-9643-A54B8CE6F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94300" y="6224401"/>
            <a:ext cx="1158728" cy="35058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524DAC6-DF6A-4E9E-AF01-59285C842E16}"/>
              </a:ext>
            </a:extLst>
          </p:cNvPr>
          <p:cNvPicPr>
            <a:picLocks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660200" y="6224401"/>
            <a:ext cx="1025408" cy="36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C5F1506-0FF1-476A-9766-95A867527BE0}"/>
              </a:ext>
            </a:extLst>
          </p:cNvPr>
          <p:cNvPicPr>
            <a:picLocks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892780" y="6163201"/>
            <a:ext cx="775411" cy="3960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7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5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6" y="565703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272289" y="1859447"/>
            <a:ext cx="2215449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34996" y="3331666"/>
            <a:ext cx="4102608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6" y="3364896"/>
            <a:ext cx="8848724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B77CB80-E95C-3841-AF1C-3661F464CF9C}" type="datetimeFigureOut">
              <a:rPr lang="en-US" smtClean="0"/>
              <a:pPr/>
              <a:t>1/2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A195F56-7990-6B44-9AC2-D8AEA6FBBB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436972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851234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2.xml"/><Relationship Id="rId35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7" name="think-cell Slide" r:id="rId31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6" y="931933"/>
            <a:ext cx="8848724" cy="641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09F4E41-E6AA-460A-9EC8-77FD8D9A773C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/>
          <a:stretch>
            <a:fillRect/>
          </a:stretch>
        </p:blipFill>
        <p:spPr>
          <a:xfrm>
            <a:off x="295275" y="6223566"/>
            <a:ext cx="1158728" cy="3505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730A2B8C-829C-48A4-AE9A-484F3A5EC729}"/>
              </a:ext>
            </a:extLst>
          </p:cNvPr>
          <p:cNvPicPr>
            <a:picLocks/>
          </p:cNvPicPr>
          <p:nvPr userDrawn="1"/>
        </p:nvPicPr>
        <p:blipFill>
          <a:blip r:embed="rId34" cstate="print"/>
          <a:stretch>
            <a:fillRect/>
          </a:stretch>
        </p:blipFill>
        <p:spPr>
          <a:xfrm>
            <a:off x="1633450" y="6223566"/>
            <a:ext cx="1025408" cy="36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688A40CB-9313-45BF-8601-903C9AED84F5}"/>
              </a:ext>
            </a:extLst>
          </p:cNvPr>
          <p:cNvPicPr>
            <a:picLocks/>
          </p:cNvPicPr>
          <p:nvPr userDrawn="1"/>
        </p:nvPicPr>
        <p:blipFill>
          <a:blip r:embed="rId35" cstate="print"/>
          <a:stretch>
            <a:fillRect/>
          </a:stretch>
        </p:blipFill>
        <p:spPr>
          <a:xfrm>
            <a:off x="2830394" y="6178147"/>
            <a:ext cx="813816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</p:sldLayoutIdLst>
  <p:hf sldNum="0" hdr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6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image" Target="../media/image14.emf"/><Relationship Id="rId7" Type="http://schemas.openxmlformats.org/officeDocument/2006/relationships/image" Target="../media/image18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emf"/><Relationship Id="rId5" Type="http://schemas.openxmlformats.org/officeDocument/2006/relationships/image" Target="../media/image16.emf"/><Relationship Id="rId4" Type="http://schemas.openxmlformats.org/officeDocument/2006/relationships/image" Target="../media/image15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5805394" y="5198728"/>
            <a:ext cx="28710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1350" dirty="0">
                <a:solidFill>
                  <a:schemeClr val="bg1"/>
                </a:solidFill>
              </a:rPr>
              <a:t>25 January 2022 </a:t>
            </a: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xmlns="" id="{0817D55E-251D-4A15-8EFA-D4AF41094921}"/>
              </a:ext>
            </a:extLst>
          </p:cNvPr>
          <p:cNvSpPr txBox="1">
            <a:spLocks/>
          </p:cNvSpPr>
          <p:nvPr/>
        </p:nvSpPr>
        <p:spPr>
          <a:xfrm>
            <a:off x="340963" y="2412375"/>
            <a:ext cx="8425532" cy="2025401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000" b="1" i="0" kern="1200">
                <a:solidFill>
                  <a:srgbClr val="FFFFFF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r>
              <a:rPr lang="en-US" sz="6000" dirty="0"/>
              <a:t>Standing Committee on Education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230D45F-ABE9-4B18-885C-08F49371790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ARNING &amp; TEACHING SUPPORT MATERIAL (LTSM)</a:t>
            </a:r>
          </a:p>
        </p:txBody>
      </p:sp>
    </p:spTree>
    <p:extLst>
      <p:ext uri="{BB962C8B-B14F-4D97-AF65-F5344CB8AC3E}">
        <p14:creationId xmlns:p14="http://schemas.microsoft.com/office/powerpoint/2010/main" xmlns="" val="32795357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910DD51-2829-47A0-AC39-748AE8575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EARNING &amp; TEACHING SUPPORT MATERIAL (LTSM) – part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E1A7181-1EC1-4F62-9AA6-C2BA04911F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sz="1800" dirty="0"/>
              <a:t>LEGAL AND POLICY CONT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Framework for the supply and management of learning and teaching support material (LTSM)supplied to schoo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This framework regulates the management and retrieval of textbooks at schools.</a:t>
            </a:r>
          </a:p>
          <a:p>
            <a:endParaRPr lang="en-US" sz="1800" dirty="0"/>
          </a:p>
          <a:p>
            <a:r>
              <a:rPr lang="en-US" sz="1800" dirty="0"/>
              <a:t>SCOPE AND SCALE OF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Supply and delivery of textbooks to schools - all public schools are invited to participate in online ordering of textbooks on annual basis (May to June)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Supply and delivery of stationery items to non-section 21 school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Oversee the delivery of workbooks to schools.</a:t>
            </a:r>
          </a:p>
          <a:p>
            <a:endParaRPr lang="en-US" sz="1600" dirty="0"/>
          </a:p>
          <a:p>
            <a:r>
              <a:rPr lang="en-US" sz="1600" dirty="0"/>
              <a:t>FINANCIAL PROVIS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2021/22 Budget:  R157 million.  Expenditure on 31 December 2021: R92 647 million.</a:t>
            </a:r>
          </a:p>
          <a:p>
            <a:endParaRPr lang="en-US" sz="1600" dirty="0"/>
          </a:p>
          <a:p>
            <a:r>
              <a:rPr lang="en-US" sz="1600" dirty="0"/>
              <a:t>DELIVERY HIGHLIGH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488 176 textbooks ordered and delivered to schools by 3 December 202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Stationery items ordered and delivered to schools by 10 December 202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Orders received for new schools and for curriculum changes delivered to schools by 10 December 2021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64385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97E6A96-DD1A-40B8-A74E-4AF004A67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EARNING &amp; TEACHING SUPPORT MATERIAL – part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D2981E0-18DD-4B47-9F18-2561489A57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600" dirty="0"/>
              <a:t>INNOVATIONS AND EFFICIENCY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CEMIS ordering system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Tracking system for requisition progres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Term contract with Publishers – improved delivery time frames and economy of scales.</a:t>
            </a:r>
          </a:p>
          <a:p>
            <a:endParaRPr lang="en-US" sz="1600" dirty="0"/>
          </a:p>
          <a:p>
            <a:r>
              <a:rPr lang="en-US" sz="1600" dirty="0"/>
              <a:t>FUTURE OUTLOO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E-book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Further CEMIS ordering system development and improvement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709864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RGLARIES/VANDALISM</a:t>
            </a:r>
          </a:p>
        </p:txBody>
      </p:sp>
    </p:spTree>
    <p:extLst>
      <p:ext uri="{BB962C8B-B14F-4D97-AF65-F5344CB8AC3E}">
        <p14:creationId xmlns:p14="http://schemas.microsoft.com/office/powerpoint/2010/main" xmlns="" val="5672157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7023B78-C6FC-481A-8CFB-BB5F88FFE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dirty="0"/>
              <a:t>BURGLARIES/VANDALIS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C62DFC0-EBF0-4618-923B-EBFA46D4A9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The Table provides information on the cases of burglaries or vandalism at schools during the festive season.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CC88934C-D88E-45E5-BFA4-1E54E26A72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73742750"/>
              </p:ext>
            </p:extLst>
          </p:nvPr>
        </p:nvGraphicFramePr>
        <p:xfrm>
          <a:off x="1719743" y="2155971"/>
          <a:ext cx="4799167" cy="2639060"/>
        </p:xfrm>
        <a:graphic>
          <a:graphicData uri="http://schemas.openxmlformats.org/drawingml/2006/table">
            <a:tbl>
              <a:tblPr firstRow="1" firstCol="1" bandRow="1"/>
              <a:tblGrid>
                <a:gridCol w="3658355">
                  <a:extLst>
                    <a:ext uri="{9D8B030D-6E8A-4147-A177-3AD203B41FA5}">
                      <a16:colId xmlns:a16="http://schemas.microsoft.com/office/drawing/2014/main" xmlns="" val="2382156259"/>
                    </a:ext>
                  </a:extLst>
                </a:gridCol>
                <a:gridCol w="1140812">
                  <a:extLst>
                    <a:ext uri="{9D8B030D-6E8A-4147-A177-3AD203B41FA5}">
                      <a16:colId xmlns:a16="http://schemas.microsoft.com/office/drawing/2014/main" xmlns="" val="2106143092"/>
                    </a:ext>
                  </a:extLst>
                </a:gridCol>
              </a:tblGrid>
              <a:tr h="2389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rglary &amp; vandalism per </a:t>
                      </a: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strict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ident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5486499"/>
                  </a:ext>
                </a:extLst>
              </a:tr>
              <a:tr h="2389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pe Winelands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96955066"/>
                  </a:ext>
                </a:extLst>
              </a:tr>
              <a:tr h="2389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ro North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42135020"/>
                  </a:ext>
                </a:extLst>
              </a:tr>
              <a:tr h="2389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ro East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07028146"/>
                  </a:ext>
                </a:extLst>
              </a:tr>
              <a:tr h="2389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den &amp; Central Karoo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63087085"/>
                  </a:ext>
                </a:extLst>
              </a:tr>
              <a:tr h="2389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ro Central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48630461"/>
                  </a:ext>
                </a:extLst>
              </a:tr>
              <a:tr h="2389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st Coast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35048540"/>
                  </a:ext>
                </a:extLst>
              </a:tr>
              <a:tr h="2389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verberg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0943143"/>
                  </a:ext>
                </a:extLst>
              </a:tr>
              <a:tr h="23899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ro South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37744336"/>
                  </a:ext>
                </a:extLst>
              </a:tr>
              <a:tr h="238999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 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F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37542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6064931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945F26-F087-46F9-8D46-8BF6533A94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dirty="0"/>
              <a:t>COMPARISON: DEC 2020 vs DEC 202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42875C5D-9777-4477-A4F9-B49CAE6ECA21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3209" y="1102413"/>
            <a:ext cx="8257581" cy="465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04773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ARNER ADMISSIONS 2022</a:t>
            </a:r>
          </a:p>
        </p:txBody>
      </p:sp>
    </p:spTree>
    <p:extLst>
      <p:ext uri="{BB962C8B-B14F-4D97-AF65-F5344CB8AC3E}">
        <p14:creationId xmlns:p14="http://schemas.microsoft.com/office/powerpoint/2010/main" xmlns="" val="35348765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B08815-68E7-43AE-B450-9C6E0BCD1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AMI STATS  ON 25 JUNE 2021 (UNIQUE LEARNERS)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AB9C3F50-2159-41AC-B269-092E7625E5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62159807"/>
              </p:ext>
            </p:extLst>
          </p:nvPr>
        </p:nvGraphicFramePr>
        <p:xfrm>
          <a:off x="449312" y="2714625"/>
          <a:ext cx="3215897" cy="1428750"/>
        </p:xfrm>
        <a:graphic>
          <a:graphicData uri="http://schemas.openxmlformats.org/drawingml/2006/table">
            <a:tbl>
              <a:tblPr/>
              <a:tblGrid>
                <a:gridCol w="982763">
                  <a:extLst>
                    <a:ext uri="{9D8B030D-6E8A-4147-A177-3AD203B41FA5}">
                      <a16:colId xmlns:a16="http://schemas.microsoft.com/office/drawing/2014/main" xmlns="" val="2128894883"/>
                    </a:ext>
                  </a:extLst>
                </a:gridCol>
                <a:gridCol w="2233134">
                  <a:extLst>
                    <a:ext uri="{9D8B030D-6E8A-4147-A177-3AD203B41FA5}">
                      <a16:colId xmlns:a16="http://schemas.microsoft.com/office/drawing/2014/main" xmlns="" val="3514352450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fontAlgn="t"/>
                      <a:r>
                        <a:rPr lang="en-ZA" sz="1800" b="1" dirty="0">
                          <a:solidFill>
                            <a:srgbClr val="000080"/>
                          </a:solidFill>
                          <a:effectLst/>
                          <a:latin typeface="ARIAL" panose="020B0604020202020204" pitchFamily="34" charset="0"/>
                        </a:rPr>
                        <a:t>LEARNER APPLICATIONS</a:t>
                      </a:r>
                    </a:p>
                  </a:txBody>
                  <a:tcPr marL="76200" marR="76200" marT="0" marB="0">
                    <a:lnL>
                      <a:noFill/>
                    </a:lnL>
                    <a:lnT>
                      <a:noFill/>
                    </a:lnT>
                    <a:lnB>
                      <a:noFill/>
                    </a:lnB>
                    <a:solidFill>
                      <a:srgbClr val="BDD1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>
                    <a:lnL>
                      <a:noFill/>
                    </a:lnL>
                    <a:lnT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889466162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fontAlgn="t"/>
                      <a:r>
                        <a:rPr lang="en-ZA" sz="1800" b="1" dirty="0">
                          <a:solidFill>
                            <a:srgbClr val="000080"/>
                          </a:solidFill>
                          <a:effectLst/>
                          <a:latin typeface="ARIAL" panose="020B0604020202020204" pitchFamily="34" charset="0"/>
                        </a:rPr>
                        <a:t>CAPTURED BY...</a:t>
                      </a:r>
                    </a:p>
                  </a:txBody>
                  <a:tcPr marL="76200" marR="76200" marT="0" marB="0">
                    <a:lnL>
                      <a:noFill/>
                    </a:lnL>
                    <a:lnT>
                      <a:noFill/>
                    </a:lnT>
                    <a:lnB>
                      <a:noFill/>
                    </a:lnB>
                    <a:solidFill>
                      <a:srgbClr val="BDD1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>
                    <a:lnL>
                      <a:noFill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33261977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t"/>
                      <a:r>
                        <a:rPr lang="en-ZA" sz="1800" b="0" i="0" u="none" strike="noStrike" dirty="0">
                          <a:solidFill>
                            <a:srgbClr val="000080"/>
                          </a:solidFill>
                          <a:effectLst/>
                          <a:latin typeface="ARIAL" panose="020B0604020202020204" pitchFamily="34" charset="0"/>
                        </a:rPr>
                        <a:t>Parent</a:t>
                      </a:r>
                    </a:p>
                  </a:txBody>
                  <a:tcPr marL="76200" marR="76200" marT="9525" marB="9525">
                    <a:lnL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EA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ZA" sz="1800" dirty="0">
                          <a:effectLst/>
                          <a:latin typeface="ARIAL" panose="020B0604020202020204" pitchFamily="34" charset="0"/>
                        </a:rPr>
                        <a:t>120,275</a:t>
                      </a:r>
                    </a:p>
                  </a:txBody>
                  <a:tcPr marL="76200" marR="76200" marT="9525" marB="9525">
                    <a:lnL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398025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t"/>
                      <a:r>
                        <a:rPr lang="en-ZA" sz="1800" b="0" i="0" u="none" strike="noStrike" dirty="0">
                          <a:solidFill>
                            <a:srgbClr val="000080"/>
                          </a:solidFill>
                          <a:effectLst/>
                          <a:latin typeface="ARIAL" panose="020B0604020202020204" pitchFamily="34" charset="0"/>
                        </a:rPr>
                        <a:t>School</a:t>
                      </a:r>
                    </a:p>
                  </a:txBody>
                  <a:tcPr marL="76200" marR="76200" marT="9525" marB="9525">
                    <a:lnL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EA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ZA" sz="1800" dirty="0">
                          <a:effectLst/>
                          <a:latin typeface="ARIAL" panose="020B0604020202020204" pitchFamily="34" charset="0"/>
                        </a:rPr>
                        <a:t>37,144</a:t>
                      </a:r>
                    </a:p>
                  </a:txBody>
                  <a:tcPr marL="76200" marR="76200" marT="9525" marB="9525">
                    <a:lnL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560328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fontAlgn="t"/>
                      <a:r>
                        <a:rPr lang="en-ZA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76200" marR="76200" marT="9525" marB="9525">
                    <a:lnL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ZA" sz="18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419</a:t>
                      </a:r>
                    </a:p>
                  </a:txBody>
                  <a:tcPr marL="76200" marR="76200" marT="9525" marB="9525">
                    <a:lnL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16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02558024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3636D4CB-CE2B-4936-95FE-731D3779CECE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572000" y="1305823"/>
            <a:ext cx="4122688" cy="498648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FFD1E155-C0AF-4105-A2E5-B4BC5BC5AD04}"/>
              </a:ext>
            </a:extLst>
          </p:cNvPr>
          <p:cNvSpPr txBox="1"/>
          <p:nvPr/>
        </p:nvSpPr>
        <p:spPr>
          <a:xfrm>
            <a:off x="360727" y="1442906"/>
            <a:ext cx="35108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SAMI: Registration 28 Feb-28 March 202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1" dirty="0"/>
              <a:t>Deadline extended with another week.</a:t>
            </a:r>
          </a:p>
        </p:txBody>
      </p:sp>
    </p:spTree>
    <p:extLst>
      <p:ext uri="{BB962C8B-B14F-4D97-AF65-F5344CB8AC3E}">
        <p14:creationId xmlns:p14="http://schemas.microsoft.com/office/powerpoint/2010/main" xmlns="" val="9841512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579BF1D-1B4B-483A-83AA-DC82078BB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dirty="0"/>
              <a:t>LEARNER ADMISSIONS 2022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xmlns="" id="{7B9D392B-3855-4D93-902D-B14D6CF4E51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627050517"/>
              </p:ext>
            </p:extLst>
          </p:nvPr>
        </p:nvGraphicFramePr>
        <p:xfrm>
          <a:off x="295276" y="1800980"/>
          <a:ext cx="8597900" cy="333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41753">
                  <a:extLst>
                    <a:ext uri="{9D8B030D-6E8A-4147-A177-3AD203B41FA5}">
                      <a16:colId xmlns:a16="http://schemas.microsoft.com/office/drawing/2014/main" xmlns="" val="2130641988"/>
                    </a:ext>
                  </a:extLst>
                </a:gridCol>
                <a:gridCol w="2056147">
                  <a:extLst>
                    <a:ext uri="{9D8B030D-6E8A-4147-A177-3AD203B41FA5}">
                      <a16:colId xmlns:a16="http://schemas.microsoft.com/office/drawing/2014/main" xmlns="" val="2033970880"/>
                    </a:ext>
                  </a:extLst>
                </a:gridCol>
              </a:tblGrid>
              <a:tr h="666616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Placements confirmed before/on 25 June 2021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72 913</a:t>
                      </a: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10005718"/>
                  </a:ext>
                </a:extLst>
              </a:tr>
              <a:tr h="666616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Further confirm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50 6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70950436"/>
                  </a:ext>
                </a:extLst>
              </a:tr>
              <a:tr h="666616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Total placement confirmations by 7 July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23 5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15103259"/>
                  </a:ext>
                </a:extLst>
              </a:tr>
              <a:tr h="666616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Unplaced learners (excl Gr R) on 7 July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33 90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18100358"/>
                  </a:ext>
                </a:extLst>
              </a:tr>
              <a:tr h="666616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Total unique appl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157 4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110790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795587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8629AA6-3811-4409-B956-5E8F34D757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57512"/>
            <a:ext cx="7886700" cy="425901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UNPLACED LEARNERS AT 20 JANUARY 20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7A9D4D14-17F7-4C23-BD5A-75B17AB82241}"/>
              </a:ext>
            </a:extLst>
          </p:cNvPr>
          <p:cNvSpPr txBox="1"/>
          <p:nvPr/>
        </p:nvSpPr>
        <p:spPr>
          <a:xfrm>
            <a:off x="2325030" y="4099928"/>
            <a:ext cx="2093641" cy="98103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825" dirty="0"/>
              <a:t>Inter-Grade learners: </a:t>
            </a:r>
            <a:r>
              <a:rPr lang="en-US" sz="825" b="1" dirty="0"/>
              <a:t>1 934</a:t>
            </a:r>
            <a:r>
              <a:rPr lang="en-US" sz="825" dirty="0"/>
              <a:t> Only the essential learners will be placed.</a:t>
            </a:r>
          </a:p>
          <a:p>
            <a:endParaRPr lang="en-US" sz="825" dirty="0"/>
          </a:p>
          <a:p>
            <a:r>
              <a:rPr lang="en-US" sz="825" dirty="0"/>
              <a:t>PS. These learners are currently at WCED schools. They have applied to other WCED schools. These are regarded as transfers to school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EF0CFC3-727E-4BA9-9D55-6D5EF1D3E180}"/>
              </a:ext>
            </a:extLst>
          </p:cNvPr>
          <p:cNvSpPr txBox="1"/>
          <p:nvPr/>
        </p:nvSpPr>
        <p:spPr>
          <a:xfrm>
            <a:off x="5099819" y="4121447"/>
            <a:ext cx="1483531" cy="727122"/>
          </a:xfrm>
          <a:prstGeom prst="rect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25" dirty="0">
                <a:solidFill>
                  <a:prstClr val="black"/>
                </a:solidFill>
                <a:latin typeface="Calibri"/>
              </a:rPr>
              <a:t>Gr 1 &amp; 8 : </a:t>
            </a:r>
            <a:r>
              <a:rPr lang="en-US" sz="825" b="1" dirty="0">
                <a:solidFill>
                  <a:prstClr val="black"/>
                </a:solidFill>
                <a:latin typeface="Calibri"/>
              </a:rPr>
              <a:t>2 741</a:t>
            </a:r>
            <a:endParaRPr lang="en-US" sz="825" dirty="0">
              <a:solidFill>
                <a:prstClr val="black"/>
              </a:solidFill>
              <a:latin typeface="Calibri"/>
            </a:endParaRPr>
          </a:p>
          <a:p>
            <a:pPr>
              <a:defRPr/>
            </a:pPr>
            <a:r>
              <a:rPr lang="en-US" sz="825" dirty="0">
                <a:solidFill>
                  <a:prstClr val="black"/>
                </a:solidFill>
                <a:latin typeface="Calibri"/>
              </a:rPr>
              <a:t>These learners must be placed. Entry points to PS and HS respectively.</a:t>
            </a:r>
          </a:p>
          <a:p>
            <a:endParaRPr lang="en-US" sz="825" u="sng" dirty="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E5EC6A25-8DAE-41E0-8C07-2480B18BF159}"/>
              </a:ext>
            </a:extLst>
          </p:cNvPr>
          <p:cNvCxnSpPr>
            <a:cxnSpLocks/>
          </p:cNvCxnSpPr>
          <p:nvPr/>
        </p:nvCxnSpPr>
        <p:spPr>
          <a:xfrm>
            <a:off x="3573248" y="3588757"/>
            <a:ext cx="0" cy="504599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xmlns="" id="{636E6952-BB5D-4335-A569-F2A4E36C1D86}"/>
              </a:ext>
            </a:extLst>
          </p:cNvPr>
          <p:cNvCxnSpPr>
            <a:cxnSpLocks/>
          </p:cNvCxnSpPr>
          <p:nvPr/>
        </p:nvCxnSpPr>
        <p:spPr>
          <a:xfrm flipH="1">
            <a:off x="4001549" y="3635575"/>
            <a:ext cx="2346488" cy="424999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xmlns="" id="{9168CB16-F3AD-4897-853F-6948ADE8F687}"/>
              </a:ext>
            </a:extLst>
          </p:cNvPr>
          <p:cNvCxnSpPr>
            <a:cxnSpLocks/>
          </p:cNvCxnSpPr>
          <p:nvPr/>
        </p:nvCxnSpPr>
        <p:spPr>
          <a:xfrm>
            <a:off x="2191215" y="3621540"/>
            <a:ext cx="2908604" cy="570334"/>
          </a:xfrm>
          <a:prstGeom prst="straightConnector1">
            <a:avLst/>
          </a:prstGeom>
          <a:ln w="76200">
            <a:solidFill>
              <a:srgbClr val="FFFF00"/>
            </a:solidFill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xmlns="" id="{DA42FA00-B930-4264-8663-1878D42B83DA}"/>
              </a:ext>
            </a:extLst>
          </p:cNvPr>
          <p:cNvCxnSpPr>
            <a:cxnSpLocks/>
          </p:cNvCxnSpPr>
          <p:nvPr/>
        </p:nvCxnSpPr>
        <p:spPr>
          <a:xfrm>
            <a:off x="5264092" y="3588757"/>
            <a:ext cx="0" cy="485873"/>
          </a:xfrm>
          <a:prstGeom prst="straightConnector1">
            <a:avLst/>
          </a:prstGeom>
          <a:ln w="76200">
            <a:solidFill>
              <a:srgbClr val="FFFF00"/>
            </a:solidFill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8" name="Rectangle 2">
            <a:extLst>
              <a:ext uri="{FF2B5EF4-FFF2-40B4-BE49-F238E27FC236}">
                <a16:creationId xmlns:a16="http://schemas.microsoft.com/office/drawing/2014/main" xmlns="" id="{B0F48B57-23C7-44BE-BF29-D065AD68F8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6389" y="890201"/>
            <a:ext cx="676296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350" dirty="0"/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xmlns="" id="{45D4D422-E99A-40C5-865E-D45D913F19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97236301"/>
              </p:ext>
            </p:extLst>
          </p:nvPr>
        </p:nvGraphicFramePr>
        <p:xfrm>
          <a:off x="1455241" y="1484851"/>
          <a:ext cx="6367876" cy="2103909"/>
        </p:xfrm>
        <a:graphic>
          <a:graphicData uri="http://schemas.openxmlformats.org/drawingml/2006/table">
            <a:tbl>
              <a:tblPr firstRow="1" firstCol="1" bandRow="1"/>
              <a:tblGrid>
                <a:gridCol w="513446">
                  <a:extLst>
                    <a:ext uri="{9D8B030D-6E8A-4147-A177-3AD203B41FA5}">
                      <a16:colId xmlns:a16="http://schemas.microsoft.com/office/drawing/2014/main" xmlns="" val="1296350616"/>
                    </a:ext>
                  </a:extLst>
                </a:gridCol>
                <a:gridCol w="454713">
                  <a:extLst>
                    <a:ext uri="{9D8B030D-6E8A-4147-A177-3AD203B41FA5}">
                      <a16:colId xmlns:a16="http://schemas.microsoft.com/office/drawing/2014/main" xmlns="" val="1375572678"/>
                    </a:ext>
                  </a:extLst>
                </a:gridCol>
                <a:gridCol w="454713">
                  <a:extLst>
                    <a:ext uri="{9D8B030D-6E8A-4147-A177-3AD203B41FA5}">
                      <a16:colId xmlns:a16="http://schemas.microsoft.com/office/drawing/2014/main" xmlns="" val="2871878060"/>
                    </a:ext>
                  </a:extLst>
                </a:gridCol>
                <a:gridCol w="397874">
                  <a:extLst>
                    <a:ext uri="{9D8B030D-6E8A-4147-A177-3AD203B41FA5}">
                      <a16:colId xmlns:a16="http://schemas.microsoft.com/office/drawing/2014/main" xmlns="" val="604937753"/>
                    </a:ext>
                  </a:extLst>
                </a:gridCol>
                <a:gridCol w="397874">
                  <a:extLst>
                    <a:ext uri="{9D8B030D-6E8A-4147-A177-3AD203B41FA5}">
                      <a16:colId xmlns:a16="http://schemas.microsoft.com/office/drawing/2014/main" xmlns="" val="4172435565"/>
                    </a:ext>
                  </a:extLst>
                </a:gridCol>
                <a:gridCol w="454713">
                  <a:extLst>
                    <a:ext uri="{9D8B030D-6E8A-4147-A177-3AD203B41FA5}">
                      <a16:colId xmlns:a16="http://schemas.microsoft.com/office/drawing/2014/main" xmlns="" val="1146232532"/>
                    </a:ext>
                  </a:extLst>
                </a:gridCol>
                <a:gridCol w="458502">
                  <a:extLst>
                    <a:ext uri="{9D8B030D-6E8A-4147-A177-3AD203B41FA5}">
                      <a16:colId xmlns:a16="http://schemas.microsoft.com/office/drawing/2014/main" xmlns="" val="1179923063"/>
                    </a:ext>
                  </a:extLst>
                </a:gridCol>
                <a:gridCol w="450923">
                  <a:extLst>
                    <a:ext uri="{9D8B030D-6E8A-4147-A177-3AD203B41FA5}">
                      <a16:colId xmlns:a16="http://schemas.microsoft.com/office/drawing/2014/main" xmlns="" val="3556334275"/>
                    </a:ext>
                  </a:extLst>
                </a:gridCol>
                <a:gridCol w="454713">
                  <a:extLst>
                    <a:ext uri="{9D8B030D-6E8A-4147-A177-3AD203B41FA5}">
                      <a16:colId xmlns:a16="http://schemas.microsoft.com/office/drawing/2014/main" xmlns="" val="2599861962"/>
                    </a:ext>
                  </a:extLst>
                </a:gridCol>
                <a:gridCol w="454713">
                  <a:extLst>
                    <a:ext uri="{9D8B030D-6E8A-4147-A177-3AD203B41FA5}">
                      <a16:colId xmlns:a16="http://schemas.microsoft.com/office/drawing/2014/main" xmlns="" val="1265217175"/>
                    </a:ext>
                  </a:extLst>
                </a:gridCol>
                <a:gridCol w="454713">
                  <a:extLst>
                    <a:ext uri="{9D8B030D-6E8A-4147-A177-3AD203B41FA5}">
                      <a16:colId xmlns:a16="http://schemas.microsoft.com/office/drawing/2014/main" xmlns="" val="2185361472"/>
                    </a:ext>
                  </a:extLst>
                </a:gridCol>
                <a:gridCol w="454713">
                  <a:extLst>
                    <a:ext uri="{9D8B030D-6E8A-4147-A177-3AD203B41FA5}">
                      <a16:colId xmlns:a16="http://schemas.microsoft.com/office/drawing/2014/main" xmlns="" val="175901470"/>
                    </a:ext>
                  </a:extLst>
                </a:gridCol>
                <a:gridCol w="454713">
                  <a:extLst>
                    <a:ext uri="{9D8B030D-6E8A-4147-A177-3AD203B41FA5}">
                      <a16:colId xmlns:a16="http://schemas.microsoft.com/office/drawing/2014/main" xmlns="" val="3111705774"/>
                    </a:ext>
                  </a:extLst>
                </a:gridCol>
                <a:gridCol w="511553">
                  <a:extLst>
                    <a:ext uri="{9D8B030D-6E8A-4147-A177-3AD203B41FA5}">
                      <a16:colId xmlns:a16="http://schemas.microsoft.com/office/drawing/2014/main" xmlns="" val="2471549230"/>
                    </a:ext>
                  </a:extLst>
                </a:gridCol>
              </a:tblGrid>
              <a:tr h="48821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8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00008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5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TRICT</a:t>
                      </a:r>
                      <a:r>
                        <a:rPr lang="en-US" sz="700" b="1" dirty="0">
                          <a:solidFill>
                            <a:srgbClr val="00008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00008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EA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highlight>
                            <a:srgbClr val="FFFF00"/>
                          </a:highlight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highlight>
                            <a:srgbClr val="FFFF00"/>
                          </a:highlight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highlight>
                            <a:srgbClr val="FFFF00"/>
                          </a:highlight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8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9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1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1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1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1 -</a:t>
                      </a:r>
                      <a:b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en-US" sz="700" b="1" dirty="0">
                          <a:solidFill>
                            <a:srgbClr val="4472C4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R1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92876061"/>
                  </a:ext>
                </a:extLst>
              </a:tr>
              <a:tr h="1691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W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1725242"/>
                  </a:ext>
                </a:extLst>
              </a:tr>
              <a:tr h="1691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CK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9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1862715"/>
                  </a:ext>
                </a:extLst>
              </a:tr>
              <a:tr h="17017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CED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5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97570887"/>
                  </a:ext>
                </a:extLst>
              </a:tr>
              <a:tr h="1691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ED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9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8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148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5052873"/>
                  </a:ext>
                </a:extLst>
              </a:tr>
              <a:tr h="1691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NED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29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34459330"/>
                  </a:ext>
                </a:extLst>
              </a:tr>
              <a:tr h="1691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SED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9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8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,25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9574698"/>
                  </a:ext>
                </a:extLst>
              </a:tr>
              <a:tr h="1691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ED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1665990"/>
                  </a:ext>
                </a:extLst>
              </a:tr>
              <a:tr h="1727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WC.ED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9F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3618108"/>
                  </a:ext>
                </a:extLst>
              </a:tr>
              <a:tr h="257904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US" sz="700" b="1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OTAL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9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7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4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6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8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,302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4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30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3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2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-ZA" sz="7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675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50" marR="57150" marT="7144" marB="7144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4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85853735"/>
                  </a:ext>
                </a:extLst>
              </a:tr>
            </a:tbl>
          </a:graphicData>
        </a:graphic>
      </p:graphicFrame>
      <p:sp>
        <p:nvSpPr>
          <p:cNvPr id="28" name="Oval 27">
            <a:extLst>
              <a:ext uri="{FF2B5EF4-FFF2-40B4-BE49-F238E27FC236}">
                <a16:creationId xmlns:a16="http://schemas.microsoft.com/office/drawing/2014/main" xmlns="" id="{EEB7388B-AD7A-4699-A614-CF2F27591E46}"/>
              </a:ext>
            </a:extLst>
          </p:cNvPr>
          <p:cNvSpPr/>
          <p:nvPr/>
        </p:nvSpPr>
        <p:spPr>
          <a:xfrm>
            <a:off x="7411677" y="3392471"/>
            <a:ext cx="411441" cy="24310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xmlns="" val="3582768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621D415E-8AD0-4F40-A264-3713FD220B2C}"/>
              </a:ext>
            </a:extLst>
          </p:cNvPr>
          <p:cNvSpPr txBox="1">
            <a:spLocks/>
          </p:cNvSpPr>
          <p:nvPr/>
        </p:nvSpPr>
        <p:spPr>
          <a:xfrm>
            <a:off x="1627514" y="1592490"/>
            <a:ext cx="6172200" cy="4225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3300" dirty="0">
                <a:solidFill>
                  <a:srgbClr val="001484"/>
                </a:solidFill>
              </a:rPr>
              <a:t>Vis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003EF8D-30BA-4311-A154-1DC24B8564B8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12836" y="3916074"/>
            <a:ext cx="5180246" cy="5772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16AEF072-181D-4F67-9C20-59AAD5DEB22D}"/>
              </a:ext>
            </a:extLst>
          </p:cNvPr>
          <p:cNvSpPr txBox="1"/>
          <p:nvPr/>
        </p:nvSpPr>
        <p:spPr>
          <a:xfrm>
            <a:off x="1712835" y="4517252"/>
            <a:ext cx="5944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9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Ca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E187909-9E4B-4FCC-BE42-851A1A2E4250}"/>
              </a:ext>
            </a:extLst>
          </p:cNvPr>
          <p:cNvSpPr txBox="1"/>
          <p:nvPr/>
        </p:nvSpPr>
        <p:spPr>
          <a:xfrm>
            <a:off x="2438072" y="4516414"/>
            <a:ext cx="10287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9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Compete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AA9630C-7F12-443C-92CA-348D7A32718B}"/>
              </a:ext>
            </a:extLst>
          </p:cNvPr>
          <p:cNvSpPr txBox="1"/>
          <p:nvPr/>
        </p:nvSpPr>
        <p:spPr>
          <a:xfrm>
            <a:off x="3328715" y="4517252"/>
            <a:ext cx="11056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9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Accounta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BE12281-9AFC-410D-8F55-7A845EDE6F21}"/>
              </a:ext>
            </a:extLst>
          </p:cNvPr>
          <p:cNvSpPr txBox="1"/>
          <p:nvPr/>
        </p:nvSpPr>
        <p:spPr>
          <a:xfrm>
            <a:off x="4460487" y="4517252"/>
            <a:ext cx="66615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9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tegr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48B2171-853A-4923-8F8B-60C887DEBEC6}"/>
              </a:ext>
            </a:extLst>
          </p:cNvPr>
          <p:cNvSpPr txBox="1"/>
          <p:nvPr/>
        </p:nvSpPr>
        <p:spPr>
          <a:xfrm>
            <a:off x="5238703" y="4517252"/>
            <a:ext cx="95474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9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nov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8417CECC-7401-4F95-A705-7504739EC34A}"/>
              </a:ext>
            </a:extLst>
          </p:cNvPr>
          <p:cNvSpPr txBox="1"/>
          <p:nvPr/>
        </p:nvSpPr>
        <p:spPr>
          <a:xfrm>
            <a:off x="6148625" y="4516413"/>
            <a:ext cx="10287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9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Responsiven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8CB53F90-5732-4C26-99E3-272BF8BE371B}"/>
              </a:ext>
            </a:extLst>
          </p:cNvPr>
          <p:cNvSpPr txBox="1"/>
          <p:nvPr/>
        </p:nvSpPr>
        <p:spPr>
          <a:xfrm>
            <a:off x="1627514" y="2301868"/>
            <a:ext cx="5658459" cy="1669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ZA" sz="2250" b="1" dirty="0">
                <a:solidFill>
                  <a:srgbClr val="001484"/>
                </a:solidFill>
                <a:latin typeface="Century Gothic" panose="020B0502020202020204" pitchFamily="34" charset="0"/>
              </a:rPr>
              <a:t>Quality Education</a:t>
            </a:r>
          </a:p>
          <a:p>
            <a:pPr>
              <a:spcAft>
                <a:spcPts val="450"/>
              </a:spcAft>
            </a:pPr>
            <a:r>
              <a:rPr lang="en-ZA" sz="2250" b="1" dirty="0">
                <a:solidFill>
                  <a:srgbClr val="001484"/>
                </a:solidFill>
                <a:latin typeface="Century Gothic" panose="020B0502020202020204" pitchFamily="34" charset="0"/>
              </a:rPr>
              <a:t>for every child</a:t>
            </a:r>
          </a:p>
          <a:p>
            <a:pPr>
              <a:spcAft>
                <a:spcPts val="450"/>
              </a:spcAft>
            </a:pPr>
            <a:r>
              <a:rPr lang="en-ZA" sz="225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every classroom</a:t>
            </a:r>
          </a:p>
          <a:p>
            <a:pPr>
              <a:spcAft>
                <a:spcPts val="450"/>
              </a:spcAft>
            </a:pPr>
            <a:r>
              <a:rPr lang="en-ZA" sz="225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every school in the province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Vis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92691193-5E1B-495A-95A7-A27EE48448F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69059" y="4703569"/>
            <a:ext cx="1143776" cy="8398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624427BB-7F27-4C6A-B8B3-56355A7D7E2B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226858" y="4747303"/>
            <a:ext cx="789014" cy="8354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B1E9BA98-20CF-4C0C-B0C6-01EE21D0D80B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413498" y="4800575"/>
            <a:ext cx="799468" cy="74286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A7454945-0B13-4D83-A213-29F0A70477D7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610591" y="4724162"/>
            <a:ext cx="1009650" cy="10096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C6406EAA-276A-4D87-8E4B-87E24F7293E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610591" y="1865861"/>
            <a:ext cx="909120" cy="87201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043ACA1F-65C8-41E6-A1FA-8C6130DE9E5F}"/>
              </a:ext>
            </a:extLst>
          </p:cNvPr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95276" y="1807823"/>
            <a:ext cx="712320" cy="41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9679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492AB13-C298-4B9B-8BBC-130F5B170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dirty="0"/>
              <a:t>WCED EFFORTS TO PLACE LEARN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4F9936A-5185-43F7-AB09-FD971A182D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5276" y="1196752"/>
            <a:ext cx="8597205" cy="4331593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D8C3079-E7D8-476F-960D-02A13457ACE0}"/>
              </a:ext>
            </a:extLst>
          </p:cNvPr>
          <p:cNvSpPr txBox="1"/>
          <p:nvPr/>
        </p:nvSpPr>
        <p:spPr>
          <a:xfrm>
            <a:off x="629175" y="1196752"/>
            <a:ext cx="80522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n Admission Team was established at Head Off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8 District Admission Teams establish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ll Teams focused on placements during the fourth quarter 202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E28C87E-BD26-4BD1-AC6C-25EE4B610A4D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29175" y="2441362"/>
            <a:ext cx="5553512" cy="195088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26DA09F1-7FBC-42EC-9F59-F69069000BF8}"/>
              </a:ext>
            </a:extLst>
          </p:cNvPr>
          <p:cNvSpPr txBox="1"/>
          <p:nvPr/>
        </p:nvSpPr>
        <p:spPr>
          <a:xfrm>
            <a:off x="562063" y="4668383"/>
            <a:ext cx="77010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ZA" altLang="en-US" dirty="0"/>
              <a:t>Teams resolved </a:t>
            </a:r>
            <a:r>
              <a:rPr lang="en-ZA" altLang="en-US" b="1" dirty="0"/>
              <a:t>29 231 </a:t>
            </a:r>
            <a:r>
              <a:rPr lang="en-ZA" altLang="en-US" dirty="0"/>
              <a:t>placement cases since 7 July 2021, plus </a:t>
            </a:r>
            <a:r>
              <a:rPr lang="en-ZA" altLang="en-US" b="1" dirty="0"/>
              <a:t>472</a:t>
            </a:r>
            <a:r>
              <a:rPr lang="en-ZA" altLang="en-US" dirty="0"/>
              <a:t> Gr placements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DC38D079-E7CB-4A36-BD91-8E0E6DD8D296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689859" y="2708432"/>
            <a:ext cx="169545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567696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660B5F-52BE-4594-8292-818847BAE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ZA" dirty="0"/>
              <a:t>HOT-SPOT ARE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8402CED-5EC1-4927-AFD7-F69D989B45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5281" y="1852913"/>
            <a:ext cx="6807063" cy="2930294"/>
          </a:xfrm>
        </p:spPr>
        <p:txBody>
          <a:bodyPr>
            <a:norm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ZA" altLang="en-US" sz="1500" dirty="0"/>
              <a:t>Hotspot areas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altLang="en-US" sz="1500" dirty="0"/>
          </a:p>
          <a:p>
            <a:pPr marL="257175" indent="-25717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altLang="en-US" sz="1500" b="0" dirty="0"/>
              <a:t>Mitchell’s Plain</a:t>
            </a:r>
          </a:p>
          <a:p>
            <a:pPr marL="257175" indent="-25717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altLang="en-US" sz="1500" b="0" dirty="0"/>
              <a:t>Eerste River</a:t>
            </a:r>
          </a:p>
          <a:p>
            <a:pPr marL="257175" indent="-25717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altLang="en-US" sz="1500" b="0" dirty="0"/>
              <a:t>Mfuleni</a:t>
            </a:r>
          </a:p>
          <a:p>
            <a:pPr marL="257175" indent="-25717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altLang="en-US" sz="1500" b="0" dirty="0"/>
              <a:t>Nomzamo/Strand </a:t>
            </a:r>
          </a:p>
          <a:p>
            <a:pPr marL="257175" indent="-25717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altLang="en-US" sz="1500" b="0" dirty="0"/>
              <a:t>Delft </a:t>
            </a:r>
          </a:p>
          <a:p>
            <a:pPr marL="257175" indent="-25717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altLang="en-US" sz="1500" b="0" dirty="0"/>
              <a:t>Du Noon/Milnerton</a:t>
            </a:r>
          </a:p>
          <a:p>
            <a:pPr marL="257175" indent="-25717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altLang="en-US" sz="1500" b="0" dirty="0"/>
              <a:t>Vredenburg </a:t>
            </a:r>
          </a:p>
          <a:p>
            <a:pPr marL="257175" indent="-25717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altLang="en-US" sz="1500" b="0" dirty="0"/>
              <a:t>Hermanus </a:t>
            </a:r>
          </a:p>
          <a:p>
            <a:pPr marL="257175" indent="-25717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q"/>
            </a:pPr>
            <a:r>
              <a:rPr lang="en-ZA" altLang="en-US" sz="1500" b="0" dirty="0"/>
              <a:t>Grabouw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ZA" altLang="en-US" sz="1500" dirty="0"/>
          </a:p>
        </p:txBody>
      </p:sp>
    </p:spTree>
    <p:extLst>
      <p:ext uri="{BB962C8B-B14F-4D97-AF65-F5344CB8AC3E}">
        <p14:creationId xmlns:p14="http://schemas.microsoft.com/office/powerpoint/2010/main" xmlns="" val="36958705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2DDED2E-92CC-4E38-9BCF-0DEBD374F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CATEGORIES OF LEARNERS FOR PLACEMEN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0AA879E7-2873-46F8-9CB5-AFEBC1E232A1}"/>
              </a:ext>
            </a:extLst>
          </p:cNvPr>
          <p:cNvSpPr/>
          <p:nvPr/>
        </p:nvSpPr>
        <p:spPr>
          <a:xfrm>
            <a:off x="1891718" y="1785282"/>
            <a:ext cx="1340141" cy="6858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1. In-time application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EF953874-8512-4037-A6CA-35ABF9D224C2}"/>
              </a:ext>
            </a:extLst>
          </p:cNvPr>
          <p:cNvSpPr/>
          <p:nvPr/>
        </p:nvSpPr>
        <p:spPr>
          <a:xfrm>
            <a:off x="3360697" y="2427970"/>
            <a:ext cx="1233182" cy="6858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2. Late applications (2021)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3948666F-E741-410E-8682-0FC3417CAC01}"/>
              </a:ext>
            </a:extLst>
          </p:cNvPr>
          <p:cNvSpPr/>
          <p:nvPr/>
        </p:nvSpPr>
        <p:spPr>
          <a:xfrm>
            <a:off x="5257493" y="2770870"/>
            <a:ext cx="1296099" cy="6858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3. New applications 202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4DCE17A-5715-4CFD-8862-0BB611E3E1AC}"/>
              </a:ext>
            </a:extLst>
          </p:cNvPr>
          <p:cNvSpPr/>
          <p:nvPr/>
        </p:nvSpPr>
        <p:spPr>
          <a:xfrm>
            <a:off x="4919505" y="1672605"/>
            <a:ext cx="1081494" cy="6858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>
                <a:solidFill>
                  <a:schemeClr val="tx1"/>
                </a:solidFill>
              </a:rPr>
              <a:t>UNPLACED LEARNERS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xmlns="" id="{5C44E6C2-DA49-41F2-8789-7233100EC0EB}"/>
              </a:ext>
            </a:extLst>
          </p:cNvPr>
          <p:cNvSpPr/>
          <p:nvPr/>
        </p:nvSpPr>
        <p:spPr>
          <a:xfrm>
            <a:off x="2115945" y="1900964"/>
            <a:ext cx="2751563" cy="415890"/>
          </a:xfrm>
          <a:prstGeom prst="arc">
            <a:avLst>
              <a:gd name="adj1" fmla="val 11569856"/>
              <a:gd name="adj2" fmla="val 0"/>
            </a:avLst>
          </a:prstGeom>
          <a:ln w="2857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xmlns="" id="{2906A54A-18C0-448E-92ED-E210F22ED2D1}"/>
              </a:ext>
            </a:extLst>
          </p:cNvPr>
          <p:cNvSpPr/>
          <p:nvPr/>
        </p:nvSpPr>
        <p:spPr>
          <a:xfrm rot="7639075">
            <a:off x="4359093" y="2331196"/>
            <a:ext cx="1123266" cy="34289"/>
          </a:xfrm>
          <a:prstGeom prst="arc">
            <a:avLst/>
          </a:prstGeom>
          <a:ln w="2857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xmlns="" id="{9EABFB12-BA96-4A7F-A75B-39264785F9C0}"/>
              </a:ext>
            </a:extLst>
          </p:cNvPr>
          <p:cNvSpPr/>
          <p:nvPr/>
        </p:nvSpPr>
        <p:spPr>
          <a:xfrm rot="13918357">
            <a:off x="5281593" y="2569441"/>
            <a:ext cx="767726" cy="259331"/>
          </a:xfrm>
          <a:prstGeom prst="arc">
            <a:avLst>
              <a:gd name="adj1" fmla="val 16200000"/>
              <a:gd name="adj2" fmla="val 459292"/>
            </a:avLst>
          </a:prstGeom>
          <a:ln w="2857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xmlns="" id="{23F180C5-6D41-4810-9D50-5039C61D56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776870" y="3675300"/>
            <a:ext cx="4224130" cy="1324367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xmlns="" id="{295A30DA-0F41-4C36-AE4B-6709C82DB1CC}"/>
              </a:ext>
            </a:extLst>
          </p:cNvPr>
          <p:cNvSpPr/>
          <p:nvPr/>
        </p:nvSpPr>
        <p:spPr>
          <a:xfrm>
            <a:off x="7206911" y="2770870"/>
            <a:ext cx="1420254" cy="245959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indent="-128588">
              <a:buFont typeface="Wingdings" panose="05000000000000000000" pitchFamily="2" charset="2"/>
              <a:buChar char="§"/>
            </a:pPr>
            <a:r>
              <a:rPr lang="en-ZA" sz="900" dirty="0">
                <a:solidFill>
                  <a:schemeClr val="tx1"/>
                </a:solidFill>
              </a:rPr>
              <a:t>The in-time applications are steadily dropping.</a:t>
            </a:r>
          </a:p>
          <a:p>
            <a:pPr marL="128588" indent="-128588">
              <a:buFont typeface="Wingdings" panose="05000000000000000000" pitchFamily="2" charset="2"/>
              <a:buChar char="§"/>
            </a:pPr>
            <a:r>
              <a:rPr lang="en-ZA" sz="900" dirty="0">
                <a:solidFill>
                  <a:schemeClr val="tx1"/>
                </a:solidFill>
              </a:rPr>
              <a:t>The late applications are increasing. The reason is that applications were made at schools in December 2021, but the applications have only been placed on SAMI this year.</a:t>
            </a:r>
          </a:p>
          <a:p>
            <a:pPr marL="128588" indent="-128588">
              <a:buFont typeface="Wingdings" panose="05000000000000000000" pitchFamily="2" charset="2"/>
              <a:buChar char="§"/>
            </a:pPr>
            <a:r>
              <a:rPr lang="en-ZA" sz="900" dirty="0">
                <a:solidFill>
                  <a:schemeClr val="tx1"/>
                </a:solidFill>
              </a:rPr>
              <a:t>New applications will continue to increase.</a:t>
            </a:r>
          </a:p>
        </p:txBody>
      </p:sp>
    </p:spTree>
    <p:extLst>
      <p:ext uri="{BB962C8B-B14F-4D97-AF65-F5344CB8AC3E}">
        <p14:creationId xmlns:p14="http://schemas.microsoft.com/office/powerpoint/2010/main" xmlns="" val="403459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1A24A6-1A30-4D18-97D2-FCE1E5AFFA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CED ATTEMPTS TO DEAL WITH ACCOMMODATION NEE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6716C85-9866-4D3F-9A44-61A42782B2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5276" y="956345"/>
            <a:ext cx="8597205" cy="5123873"/>
          </a:xfrm>
        </p:spPr>
        <p:txBody>
          <a:bodyPr/>
          <a:lstStyle/>
          <a:p>
            <a:endParaRPr lang="en-US" dirty="0"/>
          </a:p>
          <a:p>
            <a:r>
              <a:rPr lang="en-US" sz="2000" dirty="0"/>
              <a:t>Additional mobile uni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u="sng" dirty="0"/>
              <a:t>173 units </a:t>
            </a:r>
            <a:r>
              <a:rPr lang="en-US" sz="1800" b="0" dirty="0"/>
              <a:t>approved for implementation by DTPW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/>
              <a:t>Undertaking was that 105 would have been completed by Dec/Jan 2022 and remaining 68 by Apr 2022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b="0" dirty="0"/>
              <a:t>On 17 January 2022, </a:t>
            </a:r>
            <a:r>
              <a:rPr lang="en-US" sz="1800" b="0" u="sng" dirty="0"/>
              <a:t>only 34 units </a:t>
            </a:r>
            <a:r>
              <a:rPr lang="en-US" sz="1800" b="0" dirty="0"/>
              <a:t>have been complet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r>
              <a:rPr lang="en-US" sz="2000" dirty="0"/>
              <a:t>Unused/under-utilized vacant classrooms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5449401-58C9-46BE-A94F-C19AC74930DF}"/>
              </a:ext>
            </a:extLst>
          </p:cNvPr>
          <p:cNvSpPr txBox="1"/>
          <p:nvPr/>
        </p:nvSpPr>
        <p:spPr>
          <a:xfrm>
            <a:off x="796954" y="3439486"/>
            <a:ext cx="7810152" cy="2221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97 vacant classrooms have been identified at schools in the province for learner placement.</a:t>
            </a:r>
          </a:p>
          <a:p>
            <a:pPr marL="285750" marR="0" lvl="0" indent="-285750" algn="just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ome of these classrooms will have to be repaired for use.</a:t>
            </a:r>
          </a:p>
          <a:p>
            <a:pPr marL="285750" marR="0" lvl="0" indent="-285750" algn="just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US" sz="1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he AO has approved funds to be transferred to do repairs to 32 vandalized classrooms over the summer school holidays.</a:t>
            </a:r>
          </a:p>
          <a:p>
            <a:pPr marL="285750" marR="0" lvl="0" indent="-285750" algn="just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en-US" dirty="0">
                <a:latin typeface="Century Gothic" panose="020B050202020202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 628 have been accommodated in these classrooms.</a:t>
            </a:r>
            <a:endParaRPr lang="en-US" sz="1400" dirty="0">
              <a:effectLst/>
              <a:latin typeface="Avenir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45296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91A6CC-DA58-4E2C-951F-798446C01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RISK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3C84FF0-8B5C-4F49-A654-0BE8739B1643}"/>
              </a:ext>
            </a:extLst>
          </p:cNvPr>
          <p:cNvSpPr txBox="1"/>
          <p:nvPr/>
        </p:nvSpPr>
        <p:spPr>
          <a:xfrm>
            <a:off x="599378" y="1305341"/>
            <a:ext cx="794524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Wingdings" panose="05000000000000000000" pitchFamily="2" charset="2"/>
              <a:buChar char="q"/>
            </a:pPr>
            <a:r>
              <a:rPr lang="en-US" dirty="0"/>
              <a:t>Mobiles not being placed.</a:t>
            </a:r>
          </a:p>
          <a:p>
            <a:pPr marL="214313" indent="-214313">
              <a:buFont typeface="Wingdings" panose="05000000000000000000" pitchFamily="2" charset="2"/>
              <a:buChar char="q"/>
            </a:pPr>
            <a:endParaRPr lang="en-US" dirty="0"/>
          </a:p>
          <a:p>
            <a:pPr marL="214313" indent="-214313">
              <a:buFont typeface="Wingdings" panose="05000000000000000000" pitchFamily="2" charset="2"/>
              <a:buChar char="q"/>
            </a:pPr>
            <a:r>
              <a:rPr lang="en-US" dirty="0"/>
              <a:t>Learners who have not applied for space/accommodation (Gr 1 and Gr 8) for 2022.</a:t>
            </a:r>
          </a:p>
          <a:p>
            <a:pPr marL="214313" indent="-214313">
              <a:buFont typeface="Wingdings" panose="05000000000000000000" pitchFamily="2" charset="2"/>
              <a:buChar char="q"/>
            </a:pPr>
            <a:endParaRPr lang="en-US" dirty="0"/>
          </a:p>
          <a:p>
            <a:pPr marL="214313" indent="-214313">
              <a:buFont typeface="Wingdings" panose="05000000000000000000" pitchFamily="2" charset="2"/>
              <a:buChar char="q"/>
            </a:pPr>
            <a:r>
              <a:rPr lang="en-US" dirty="0"/>
              <a:t>New arrivals in 2022.</a:t>
            </a:r>
          </a:p>
          <a:p>
            <a:pPr marL="214313" indent="-214313">
              <a:buFont typeface="Wingdings" panose="05000000000000000000" pitchFamily="2" charset="2"/>
              <a:buChar char="q"/>
            </a:pPr>
            <a:endParaRPr lang="en-US" dirty="0"/>
          </a:p>
          <a:p>
            <a:pPr marL="214313" indent="-214313">
              <a:buFont typeface="Wingdings" panose="05000000000000000000" pitchFamily="2" charset="2"/>
              <a:buChar char="q"/>
            </a:pPr>
            <a:r>
              <a:rPr lang="en-US" dirty="0"/>
              <a:t>Possible full (100%) return of learners to school.</a:t>
            </a:r>
          </a:p>
          <a:p>
            <a:pPr marL="214313" indent="-214313">
              <a:buFont typeface="Wingdings" panose="05000000000000000000" pitchFamily="2" charset="2"/>
              <a:buChar char="q"/>
            </a:pPr>
            <a:endParaRPr lang="en-US" dirty="0"/>
          </a:p>
          <a:p>
            <a:pPr marL="214313" indent="-214313">
              <a:buFont typeface="Wingdings" panose="05000000000000000000" pitchFamily="2" charset="2"/>
              <a:buChar char="q"/>
            </a:pPr>
            <a:r>
              <a:rPr lang="en-US" dirty="0"/>
              <a:t>Because there is a need for everybody in districts to be involved in trying to resolve unplaced learners, key district staff are distracted from attending/delivering other critical educational matters.</a:t>
            </a:r>
          </a:p>
          <a:p>
            <a:endParaRPr lang="en-US" dirty="0"/>
          </a:p>
          <a:p>
            <a:pPr marL="214313" indent="-214313">
              <a:buFont typeface="Wingdings" panose="05000000000000000000" pitchFamily="2" charset="2"/>
              <a:buChar char="q"/>
            </a:pPr>
            <a:r>
              <a:rPr lang="en-US" dirty="0"/>
              <a:t>Platooning poses certain safety risks, and it also impedes on the requisite teaching time for learners</a:t>
            </a:r>
          </a:p>
        </p:txBody>
      </p:sp>
    </p:spTree>
    <p:extLst>
      <p:ext uri="{BB962C8B-B14F-4D97-AF65-F5344CB8AC3E}">
        <p14:creationId xmlns:p14="http://schemas.microsoft.com/office/powerpoint/2010/main" xmlns="" val="24511421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C16898-078D-4324-9D4E-9A10B4783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NSIDERATIONS FOR FUTURE MANAGEMENT OF ADMISS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4B29A1C0-A249-44C0-B2F5-25A33AC5E778}"/>
              </a:ext>
            </a:extLst>
          </p:cNvPr>
          <p:cNvSpPr txBox="1"/>
          <p:nvPr/>
        </p:nvSpPr>
        <p:spPr>
          <a:xfrm>
            <a:off x="586409" y="2169216"/>
            <a:ext cx="732513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100" dirty="0"/>
              <a:t>We will amend SAMI to reflect different categories of applications:</a:t>
            </a:r>
          </a:p>
          <a:p>
            <a:pPr marL="685800" lvl="1" indent="-342900">
              <a:buFont typeface="Wingdings" panose="05000000000000000000" pitchFamily="2" charset="2"/>
              <a:buChar char="q"/>
            </a:pPr>
            <a:r>
              <a:rPr lang="en-ZA" sz="2100" dirty="0"/>
              <a:t>Gr R</a:t>
            </a:r>
          </a:p>
          <a:p>
            <a:pPr marL="685800" lvl="1" indent="-342900">
              <a:buFont typeface="Wingdings" panose="05000000000000000000" pitchFamily="2" charset="2"/>
              <a:buChar char="q"/>
            </a:pPr>
            <a:r>
              <a:rPr lang="en-ZA" sz="2100" dirty="0"/>
              <a:t>Grades 1 &amp; 8 as entry grades into Primary and High School respectively</a:t>
            </a:r>
          </a:p>
          <a:p>
            <a:pPr marL="685800" lvl="1" indent="-342900">
              <a:buFont typeface="Wingdings" panose="05000000000000000000" pitchFamily="2" charset="2"/>
              <a:buChar char="q"/>
            </a:pPr>
            <a:r>
              <a:rPr lang="en-ZA" sz="2100" dirty="0"/>
              <a:t>Transf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ZA" sz="21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100" dirty="0"/>
              <a:t>Unlock the possibility of mobile rentals</a:t>
            </a:r>
          </a:p>
        </p:txBody>
      </p:sp>
    </p:spTree>
    <p:extLst>
      <p:ext uri="{BB962C8B-B14F-4D97-AF65-F5344CB8AC3E}">
        <p14:creationId xmlns:p14="http://schemas.microsoft.com/office/powerpoint/2010/main" xmlns="" val="25814083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ARNER WELLNESS</a:t>
            </a:r>
          </a:p>
        </p:txBody>
      </p:sp>
    </p:spTree>
    <p:extLst>
      <p:ext uri="{BB962C8B-B14F-4D97-AF65-F5344CB8AC3E}">
        <p14:creationId xmlns:p14="http://schemas.microsoft.com/office/powerpoint/2010/main" xmlns="" val="6892271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7E536BD-5191-464E-A15C-C4E58753E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ZA" sz="2400" dirty="0"/>
              <a:t>LEARNER SUPPORT/COVID READIN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7B4716A-4E87-4FFD-8E44-70D7B68E9E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5276" y="1062528"/>
            <a:ext cx="8597205" cy="4883466"/>
          </a:xfrm>
        </p:spPr>
        <p:txBody>
          <a:bodyPr>
            <a:norm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1800" b="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istrict requested all schools, teachers and learners to complete questionnaires to determine support needed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ZA" sz="1800" b="0" dirty="0">
                <a:latin typeface="Century Gothic" panose="020B0502020202020204" pitchFamily="34" charset="0"/>
              </a:rPr>
              <a:t>Learners are supported: face-to-face or virtually. A psychologists or social worker supports learners either individually or in groups. School counsellors at our schools of skills also provide support to learn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WCED Learner Support Pathway to guide support rendered to learners affected by, for example, either illness, anxiety or grief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PE materials to the value of R19m have been procured centrally for 873 schools who indicated in a survey the need for top-ups. Delivery started in the 4</a:t>
            </a:r>
            <a:r>
              <a:rPr lang="en-ZA" sz="1800" b="0" baseline="3000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ZA" sz="1800" b="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arter and is still in process. This is an ongoing project to support schools unable to purchase their own stoc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ools have also been advised to budget for PPE materials from their Norms and Standards fun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reening of all learners upon entry to school facilities will continu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0" dirty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y learner displaying symptoms will be confined to an isolation facility and the parents contacted to collect the child.</a:t>
            </a:r>
          </a:p>
        </p:txBody>
      </p:sp>
    </p:spTree>
    <p:extLst>
      <p:ext uri="{BB962C8B-B14F-4D97-AF65-F5344CB8AC3E}">
        <p14:creationId xmlns:p14="http://schemas.microsoft.com/office/powerpoint/2010/main" xmlns="" val="8678401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BAEC4F44-831A-45B0-9DF1-2E39C2539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200" b="1" dirty="0"/>
              <a:t>WCED Wellness and Psycho-social Suppor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F23EF249-A9A4-45C1-AFE4-17D9D6AB89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5276" y="1196752"/>
            <a:ext cx="8597205" cy="4600041"/>
          </a:xfrm>
        </p:spPr>
        <p:txBody>
          <a:bodyPr>
            <a:normAutofit fontScale="62500" lnSpcReduction="20000"/>
          </a:bodyPr>
          <a:lstStyle/>
          <a:p>
            <a:pPr marL="457200" marR="0" indent="-45720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900" b="0" dirty="0"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The WCED has a wellness and psycho-social support strategy, which was adapted especially for use during the Covid-19 period to be responsive to the increased need for psycho-social support.</a:t>
            </a:r>
            <a:endParaRPr lang="en-US" sz="2900" b="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 marR="0" indent="-45720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900" b="0" dirty="0">
                <a:effectLst/>
                <a:latin typeface="+mn-lt"/>
                <a:ea typeface="Calibri" panose="020F0502020204030204" pitchFamily="34" charset="0"/>
              </a:rPr>
              <a:t>There is a provincial psycho-social task team that has been established.</a:t>
            </a:r>
          </a:p>
          <a:p>
            <a:pPr marL="457200" marR="0" indent="-45720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GB" sz="2900" b="0" dirty="0">
                <a:latin typeface="+mn-lt"/>
                <a:ea typeface="Calibri" panose="020F0502020204030204" pitchFamily="34" charset="0"/>
              </a:rPr>
              <a:t>Cooperation with two sister departments (Health &amp; DSD).</a:t>
            </a:r>
            <a:endParaRPr lang="en-GB" sz="2900" b="0" dirty="0">
              <a:effectLst/>
              <a:latin typeface="+mn-lt"/>
              <a:ea typeface="Calibri" panose="020F0502020204030204" pitchFamily="34" charset="0"/>
            </a:endParaRPr>
          </a:p>
          <a:p>
            <a:pPr marL="457200" marR="0" indent="-45720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900" b="0" dirty="0">
                <a:solidFill>
                  <a:prstClr val="black"/>
                </a:solidFill>
                <a:latin typeface="+mn-lt"/>
              </a:rPr>
              <a:t>L</a:t>
            </a:r>
            <a:r>
              <a:rPr kumimoji="0" lang="en-US" sz="2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arners received psycho-social interventions which included bereavement counselling, interventions for depression and suicidal ideation, trauma, mental health screening and wellness promotion sessions.</a:t>
            </a:r>
          </a:p>
          <a:p>
            <a:pPr marL="457200" marR="0" indent="-45720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2900" b="0" dirty="0">
                <a:latin typeface="+mn-lt"/>
              </a:rPr>
              <a:t>Training on emotional first aid/trauma-informed schools was provided to  teachers.</a:t>
            </a:r>
            <a:endParaRPr kumimoji="0" lang="en-US" sz="29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marR="0" indent="-457200" algn="just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ZA" sz="2900" b="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Grade 12/matric learners were found to be particularly vulnerable due to the high stakes examination they would be writing at the end of the year and were a particular focus for psycho-social interventions.</a:t>
            </a:r>
            <a:endParaRPr lang="en-US" sz="2900" b="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734339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8F82AEB-791D-4669-9903-3B0BAA9F8F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574440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/>
              <a:t>GRADE 12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BBFC017-F339-4D11-84CA-7685D43F79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727" y="1147194"/>
            <a:ext cx="8422546" cy="4563611"/>
          </a:xfrm>
        </p:spPr>
        <p:txBody>
          <a:bodyPr>
            <a:noAutofit/>
          </a:bodyPr>
          <a:lstStyle/>
          <a:p>
            <a:pPr marL="285750" marR="0" indent="-28575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i="1" dirty="0">
                <a:ea typeface="Calibri" panose="020F0502020204030204" pitchFamily="34" charset="0"/>
              </a:rPr>
              <a:t>The Specialised Support </a:t>
            </a:r>
            <a:r>
              <a:rPr lang="en-GB" sz="1600" i="1" dirty="0">
                <a:effectLst/>
                <a:ea typeface="Calibri" panose="020F0502020204030204" pitchFamily="34" charset="0"/>
              </a:rPr>
              <a:t>teams in districts proactively engaged with Grade 12 learners as they prepared for exams. This </a:t>
            </a:r>
            <a:r>
              <a:rPr lang="en-GB" sz="1600" i="1" dirty="0">
                <a:ea typeface="Calibri" panose="020F0502020204030204" pitchFamily="34" charset="0"/>
              </a:rPr>
              <a:t>i</a:t>
            </a:r>
            <a:r>
              <a:rPr lang="en-GB" sz="1600" i="1" dirty="0">
                <a:effectLst/>
                <a:ea typeface="Calibri" panose="020F0502020204030204" pitchFamily="34" charset="0"/>
              </a:rPr>
              <a:t>ncluded:</a:t>
            </a:r>
            <a:endParaRPr lang="en-US" sz="1600" i="1" dirty="0">
              <a:effectLst/>
              <a:ea typeface="Calibri" panose="020F0502020204030204" pitchFamily="34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GB" sz="1600" i="1" dirty="0">
                <a:effectLst/>
                <a:ea typeface="Calibri" panose="020F0502020204030204" pitchFamily="34" charset="0"/>
              </a:rPr>
              <a:t>Self-care and mindfulness sessions with groups of matric learners</a:t>
            </a:r>
            <a:endParaRPr lang="en-US" sz="1600" i="1" dirty="0">
              <a:effectLst/>
              <a:ea typeface="Calibri" panose="020F0502020204030204" pitchFamily="34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GB" sz="1600" i="1" dirty="0">
                <a:effectLst/>
                <a:ea typeface="Calibri" panose="020F0502020204030204" pitchFamily="34" charset="0"/>
              </a:rPr>
              <a:t>Group psycho-social support sessions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GB" sz="1600" i="1" dirty="0">
                <a:effectLst/>
                <a:ea typeface="Calibri" panose="020F0502020204030204" pitchFamily="34" charset="0"/>
              </a:rPr>
              <a:t>Individual counselling sessions, when required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GB" sz="1600" i="1" dirty="0">
                <a:effectLst/>
                <a:ea typeface="Calibri" panose="020F0502020204030204" pitchFamily="34" charset="0"/>
              </a:rPr>
              <a:t>Motivational talks</a:t>
            </a:r>
            <a:endParaRPr lang="en-US" sz="1600" i="1" dirty="0">
              <a:effectLst/>
              <a:ea typeface="Calibri" panose="020F0502020204030204" pitchFamily="34" charset="0"/>
            </a:endParaRP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GB" sz="1600" i="1" dirty="0">
                <a:effectLst/>
                <a:ea typeface="Calibri" panose="020F0502020204030204" pitchFamily="34" charset="0"/>
              </a:rPr>
              <a:t>Study skills sessions</a:t>
            </a:r>
          </a:p>
          <a:p>
            <a:pPr marL="800100" lvl="1" indent="-342900" algn="just">
              <a:lnSpc>
                <a:spcPct val="115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GB" sz="1600" i="1" dirty="0">
                <a:effectLst/>
                <a:ea typeface="Calibri" panose="020F0502020204030204" pitchFamily="34" charset="0"/>
              </a:rPr>
              <a:t>Psycho-social support sessions with parents focusing on communication, realistic expectations and goal-setting, and supporting a Grade 12 learner at home</a:t>
            </a:r>
            <a:endParaRPr lang="en-US" sz="1600" i="1" dirty="0">
              <a:effectLst/>
              <a:ea typeface="Calibri" panose="020F0502020204030204" pitchFamily="34" charset="0"/>
            </a:endParaRPr>
          </a:p>
          <a:p>
            <a:pPr marL="285750" marR="0" indent="-28575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GB" sz="1600" i="1" dirty="0">
                <a:effectLst/>
                <a:ea typeface="Calibri" panose="020F0502020204030204" pitchFamily="34" charset="0"/>
              </a:rPr>
              <a:t>Various partners (NGOs &amp; Universities) have assisted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i="1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The WCED’s placed useful resources regarding psycho-social support and promotion of well-being on the WCED’s ePortal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i="1" dirty="0">
                <a:ea typeface="Calibri" panose="020F0502020204030204" pitchFamily="34" charset="0"/>
                <a:cs typeface="Calibri" panose="020F0502020204030204" pitchFamily="34" charset="0"/>
              </a:rPr>
              <a:t>D</a:t>
            </a:r>
            <a:r>
              <a:rPr lang="en-GB" sz="1600" i="1" dirty="0">
                <a:effectLst/>
                <a:ea typeface="Calibri" panose="020F0502020204030204" pitchFamily="34" charset="0"/>
                <a:cs typeface="Calibri" panose="020F0502020204030204" pitchFamily="34" charset="0"/>
              </a:rPr>
              <a:t>istricts distributed relevant pamphlets and other resources to school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GB" sz="1600" i="1" dirty="0">
                <a:ea typeface="Calibri" panose="020F0502020204030204" pitchFamily="34" charset="0"/>
                <a:cs typeface="Calibri" panose="020F0502020204030204" pitchFamily="34" charset="0"/>
              </a:rPr>
              <a:t>Growth Mindset (T2P) was also offered to Matrics.</a:t>
            </a:r>
            <a:endParaRPr lang="en-GB" sz="1600" i="1" dirty="0">
              <a:effectLst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78648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4DBC21-914E-4898-990A-247FE2D6AB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2400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71CFF36-8FA2-4F66-AE1C-22337BD873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The presentation will in broad cover the following topics:</a:t>
            </a:r>
          </a:p>
          <a:p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NSC 202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chool Readiness for 2022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Admissions 2022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Learner wellness and suppor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778588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Box 2"/>
          <p:cNvSpPr txBox="1">
            <a:spLocks noChangeArrowheads="1"/>
          </p:cNvSpPr>
          <p:nvPr/>
        </p:nvSpPr>
        <p:spPr bwMode="auto">
          <a:xfrm>
            <a:off x="1043608" y="285791"/>
            <a:ext cx="6361340" cy="806528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vert="horz" wrap="square" lIns="68580" tIns="34290" rIns="68580" bIns="34290" anchor="ctr" anchorCtr="0">
            <a:noAutofit/>
          </a:bodyPr>
          <a:lstStyle>
            <a:defPPr>
              <a:defRPr lang="en-US"/>
            </a:defPPr>
            <a:lvl1pPr algn="ctr">
              <a:defRPr sz="1200" b="1">
                <a:solidFill>
                  <a:prstClr val="white"/>
                </a:solidFill>
                <a:ea typeface="Calibri"/>
                <a:cs typeface="Times New Roman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/>
              </a:rPr>
              <a:t>PSYCHO-SOCIAL SUPPORT PATHWA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cs typeface="Times New Roman"/>
              </a:rPr>
              <a:t>LEVELS OF SUPPORT</a:t>
            </a:r>
          </a:p>
        </p:txBody>
      </p:sp>
      <p:sp>
        <p:nvSpPr>
          <p:cNvPr id="53" name="Oval 52"/>
          <p:cNvSpPr/>
          <p:nvPr/>
        </p:nvSpPr>
        <p:spPr>
          <a:xfrm>
            <a:off x="575550" y="1526407"/>
            <a:ext cx="2155119" cy="561954"/>
          </a:xfrm>
          <a:prstGeom prst="ellipse">
            <a:avLst/>
          </a:prstGeom>
          <a:solidFill>
            <a:srgbClr val="92D05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vert="horz" wrap="square" lIns="68580" tIns="34290" rIns="68580" bIns="3429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LOW LEVEL SUPPORT</a:t>
            </a: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Times New Roman"/>
            </a:endParaRPr>
          </a:p>
        </p:txBody>
      </p:sp>
      <p:sp>
        <p:nvSpPr>
          <p:cNvPr id="54" name="Oval 53"/>
          <p:cNvSpPr/>
          <p:nvPr/>
        </p:nvSpPr>
        <p:spPr>
          <a:xfrm>
            <a:off x="3412727" y="1649977"/>
            <a:ext cx="2097394" cy="563061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MODERATE LEVEL SUPPORT</a:t>
            </a:r>
            <a:endParaRPr kumimoji="0" lang="en-ZA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Times New Roman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6348131" y="1649977"/>
            <a:ext cx="2113633" cy="563061"/>
          </a:xfrm>
          <a:prstGeom prst="ellipse">
            <a:avLst/>
          </a:prstGeom>
          <a:solidFill>
            <a:srgbClr val="C00000">
              <a:alpha val="84000"/>
            </a:srgb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Times New Roman"/>
              </a:rPr>
              <a:t>HIGH LEVEL SUPPORT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"/>
              <a:cs typeface="Times New Roman"/>
            </a:endParaRPr>
          </a:p>
        </p:txBody>
      </p:sp>
      <p:sp>
        <p:nvSpPr>
          <p:cNvPr id="11" name="Flowchart: Stored Data 10"/>
          <p:cNvSpPr/>
          <p:nvPr/>
        </p:nvSpPr>
        <p:spPr>
          <a:xfrm rot="16200000">
            <a:off x="-334531" y="2530883"/>
            <a:ext cx="3962147" cy="2515149"/>
          </a:xfrm>
          <a:prstGeom prst="flowChartOnlineStorage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fe Skills/Orientation incl. relevant Covid-19 information 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uma-sensitive/ Wellness tips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th mindset &amp;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room emotional /sensory regulation/body-based  support strategies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ine psycho-social support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olence Prevention Initiativ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SNP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ool Enrichment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CAS after-school project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Calibri" panose="020F0502020204030204"/>
              </a:rPr>
              <a:t>+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WP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Flowchart: Stored Data 65"/>
          <p:cNvSpPr/>
          <p:nvPr/>
        </p:nvSpPr>
        <p:spPr>
          <a:xfrm rot="16200000">
            <a:off x="6493349" y="1801645"/>
            <a:ext cx="1823196" cy="2515155"/>
          </a:xfrm>
          <a:prstGeom prst="flowChartOnlineStorage">
            <a:avLst/>
          </a:pr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vidual or Group Counselling/therapy/ psycho-educational  assessment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erral to DOH  e.g.psychiatric services, medication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erral to DSD e.g. child protection services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Flowchart: Stored Data 66"/>
          <p:cNvSpPr/>
          <p:nvPr/>
        </p:nvSpPr>
        <p:spPr>
          <a:xfrm rot="16200000">
            <a:off x="3127168" y="2171424"/>
            <a:ext cx="2688292" cy="2515151"/>
          </a:xfrm>
          <a:prstGeom prst="flowChartOnlineStorage">
            <a:avLst/>
          </a:prstGeom>
          <a:solidFill>
            <a:srgbClr val="FFC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/>
          <a:lstStyle/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hool Psycho-social Plans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ychologist/Social Worker consultation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e discussions</a:t>
            </a:r>
          </a:p>
          <a:p>
            <a:pPr marL="214313" marR="0" lvl="0" indent="-214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ty services</a:t>
            </a:r>
          </a:p>
        </p:txBody>
      </p:sp>
    </p:spTree>
    <p:extLst>
      <p:ext uri="{BB962C8B-B14F-4D97-AF65-F5344CB8AC3E}">
        <p14:creationId xmlns:p14="http://schemas.microsoft.com/office/powerpoint/2010/main" xmlns="" val="194054473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CHOOL READINESS</a:t>
            </a:r>
          </a:p>
        </p:txBody>
      </p:sp>
    </p:spTree>
    <p:extLst>
      <p:ext uri="{BB962C8B-B14F-4D97-AF65-F5344CB8AC3E}">
        <p14:creationId xmlns:p14="http://schemas.microsoft.com/office/powerpoint/2010/main" xmlns="" val="17322169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A6A6302-B1FB-495C-B589-C5C1EB104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ZA" sz="2400" dirty="0"/>
              <a:t>SCHOOL IMPROVEMENT PLANS (SIP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9115262-AD54-4331-B5EC-8638770370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ZA" sz="2400" dirty="0"/>
              <a:t>All schools who have achieved less that 60% in the NSC exams are required to develop an intervention plan.</a:t>
            </a:r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r>
              <a:rPr lang="en-ZA" sz="2400" dirty="0"/>
              <a:t>Schools who have achieved less that 70% in the NSC exams</a:t>
            </a:r>
          </a:p>
          <a:p>
            <a:endParaRPr lang="en-ZA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xmlns="" id="{D9117952-E9B0-4516-8EB8-3D37C388BF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89447665"/>
              </p:ext>
            </p:extLst>
          </p:nvPr>
        </p:nvGraphicFramePr>
        <p:xfrm>
          <a:off x="567655" y="2316480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xmlns="" val="4089668829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xmlns="" val="14882555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Number of schoo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902522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5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48112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98569909"/>
                  </a:ext>
                </a:extLst>
              </a:tr>
            </a:tbl>
          </a:graphicData>
        </a:graphic>
      </p:graphicFrame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xmlns="" id="{19472CFB-2032-4AD2-BF23-AAEBCD05D4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41267981"/>
              </p:ext>
            </p:extLst>
          </p:nvPr>
        </p:nvGraphicFramePr>
        <p:xfrm>
          <a:off x="567655" y="4656665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xmlns="" val="2505189497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xmlns="" val="173569664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Number of schoo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21971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202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1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322882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9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61387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72361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37A436B-1C21-4E85-B8BD-D83B981E0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ZA" sz="2400" dirty="0"/>
              <a:t>SCHOOLS PERFORMING BELOW 60% IN NSC	</a:t>
            </a:r>
            <a:r>
              <a:rPr lang="en-ZA" dirty="0"/>
              <a:t>	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91E65020-4275-44AF-BB88-6AA97433E9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Head of Education issues a letter to the school indicating their unfavourable pass rat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ZA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District Director, Head of Curriculum and Circuit Manager analyse the results of the school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ZA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School Management Team is called in to explain their results once they have analysed the resul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ZA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SMT present their Intervention Plan in the School Improvement Plan(SIP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ZA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Agreement is reached between the district and the school on monitoring of the intervention pla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ZA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School is included in the District Improvement Plan (DIP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ZA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At the quarterly Exco visits to districts, the District responds on the monitoring of the schools below 70%.</a:t>
            </a:r>
          </a:p>
        </p:txBody>
      </p:sp>
    </p:spTree>
    <p:extLst>
      <p:ext uri="{BB962C8B-B14F-4D97-AF65-F5344CB8AC3E}">
        <p14:creationId xmlns:p14="http://schemas.microsoft.com/office/powerpoint/2010/main" xmlns="" val="3878225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A230D45F-ABE9-4B18-885C-08F49371790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EARNER TRANSPORT SYSTEM (LTS)</a:t>
            </a:r>
          </a:p>
        </p:txBody>
      </p:sp>
    </p:spTree>
    <p:extLst>
      <p:ext uri="{BB962C8B-B14F-4D97-AF65-F5344CB8AC3E}">
        <p14:creationId xmlns:p14="http://schemas.microsoft.com/office/powerpoint/2010/main" xmlns="" val="16740632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C75C3AF-C727-443B-A45C-397D830C54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EARNER TRANSPORT SCHEME (LTS) – part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4C48237-CA84-464C-B518-5FC2219B7E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sz="1800" dirty="0"/>
              <a:t>LEGAL &amp; POLICY CONTEXT:</a:t>
            </a:r>
          </a:p>
          <a:p>
            <a:r>
              <a:rPr lang="en-US" sz="1600" dirty="0"/>
              <a:t>1. LTS POLICY:</a:t>
            </a:r>
          </a:p>
          <a:p>
            <a:r>
              <a:rPr lang="en-US" sz="1600" b="0" dirty="0"/>
              <a:t>    Learners in rural areas who reside 5 or more kilometres from their nearest schools</a:t>
            </a:r>
          </a:p>
          <a:p>
            <a:r>
              <a:rPr lang="en-US" sz="1600" b="0" dirty="0"/>
              <a:t>    qualify for learner transport.</a:t>
            </a:r>
          </a:p>
          <a:p>
            <a:r>
              <a:rPr lang="en-US" sz="1600" dirty="0"/>
              <a:t>2. LTS STANDARD OPERATIONAL PROCEDURES (SOP)</a:t>
            </a:r>
          </a:p>
          <a:p>
            <a:r>
              <a:rPr lang="en-US" sz="1600" b="0" dirty="0"/>
              <a:t>    Guidelines on the management of LTS at schools, Districts and Head Office. </a:t>
            </a:r>
          </a:p>
          <a:p>
            <a:endParaRPr lang="en-US" sz="1600" dirty="0"/>
          </a:p>
          <a:p>
            <a:r>
              <a:rPr lang="en-US" sz="1800" dirty="0"/>
              <a:t>SCOPE AND SCALE OF SERVICE</a:t>
            </a:r>
          </a:p>
          <a:p>
            <a:r>
              <a:rPr lang="en-US" sz="1600" b="0" dirty="0"/>
              <a:t>581 LTS routes, 60 972 learners transported, 463 Primary and Secondary schools. </a:t>
            </a:r>
          </a:p>
          <a:p>
            <a:endParaRPr lang="en-US" sz="1600" dirty="0"/>
          </a:p>
          <a:p>
            <a:r>
              <a:rPr lang="en-US" sz="1800" dirty="0"/>
              <a:t>FINANCIAL PROVISION</a:t>
            </a:r>
          </a:p>
          <a:p>
            <a:r>
              <a:rPr lang="en-US" sz="1600" b="0" dirty="0"/>
              <a:t>2021/22 Budget: R456 million;  Expenditure on 31 December 2021: R347 million.</a:t>
            </a:r>
          </a:p>
          <a:p>
            <a:endParaRPr lang="en-US" sz="1600" dirty="0"/>
          </a:p>
          <a:p>
            <a:r>
              <a:rPr lang="en-US" sz="1800" dirty="0"/>
              <a:t>DELIVERY HIGHLIGHTS</a:t>
            </a:r>
          </a:p>
          <a:p>
            <a:r>
              <a:rPr lang="en-US" sz="1600" b="0" dirty="0"/>
              <a:t>All targeted learners are transported.    </a:t>
            </a:r>
          </a:p>
          <a:p>
            <a:r>
              <a:rPr lang="en-US" sz="1600" b="0" dirty="0"/>
              <a:t>11 new LTS route applications were received and processed for January 2022.</a:t>
            </a:r>
          </a:p>
          <a:p>
            <a:r>
              <a:rPr lang="en-US" sz="1600" b="0" dirty="0"/>
              <a:t>A total of 455 LTS applications were received and processed for January 2022, representing 6656 learners.</a:t>
            </a:r>
          </a:p>
        </p:txBody>
      </p:sp>
    </p:spTree>
    <p:extLst>
      <p:ext uri="{BB962C8B-B14F-4D97-AF65-F5344CB8AC3E}">
        <p14:creationId xmlns:p14="http://schemas.microsoft.com/office/powerpoint/2010/main" xmlns="" val="3623734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A60ABE-EC89-4501-AC42-5FF2D34BA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LEARNER TRANSPORT SCEMES (LTS) – part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1B445AB-CAF8-4FA8-9F93-29674CF7D5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800" dirty="0"/>
              <a:t>RIS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Availability of sufficient funding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Petrol price hike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unpredictability of bid price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Road condition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Safety and roadworthiness of vehicles.</a:t>
            </a:r>
          </a:p>
          <a:p>
            <a:endParaRPr lang="en-US" sz="1600" dirty="0"/>
          </a:p>
          <a:p>
            <a:r>
              <a:rPr lang="en-US" sz="1800" dirty="0"/>
              <a:t>INNOVATIONS AND EFFICIENCY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GIS system with GPS coordinates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CEMIS database for learners and approved LTS vehicles.</a:t>
            </a:r>
          </a:p>
          <a:p>
            <a:endParaRPr lang="en-US" sz="1600" dirty="0"/>
          </a:p>
          <a:p>
            <a:r>
              <a:rPr lang="en-US" sz="1800" dirty="0"/>
              <a:t>FUTURE OUTLOO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Electronic LTS applications via CEMIS from school level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Closer working relationship with the Department of Transport and Public Work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371103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83</TotalTime>
  <Words>1870</Words>
  <Application>Microsoft Office PowerPoint</Application>
  <PresentationFormat>On-screen Show (4:3)</PresentationFormat>
  <Paragraphs>430</Paragraphs>
  <Slides>3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3" baseType="lpstr">
      <vt:lpstr>WCG-PPT Master-121022-amc</vt:lpstr>
      <vt:lpstr>think-cell Slide</vt:lpstr>
      <vt:lpstr>Slide 1</vt:lpstr>
      <vt:lpstr>Vision</vt:lpstr>
      <vt:lpstr>INTRODUCTION</vt:lpstr>
      <vt:lpstr>Slide 4</vt:lpstr>
      <vt:lpstr>SCHOOL IMPROVEMENT PLANS (SIPs)</vt:lpstr>
      <vt:lpstr>SCHOOLS PERFORMING BELOW 60% IN NSC  </vt:lpstr>
      <vt:lpstr>Slide 7</vt:lpstr>
      <vt:lpstr>LEARNER TRANSPORT SCHEME (LTS) – part 1</vt:lpstr>
      <vt:lpstr>LEARNER TRANSPORT SCEMES (LTS) – part 2</vt:lpstr>
      <vt:lpstr>Slide 10</vt:lpstr>
      <vt:lpstr>LEARNING &amp; TEACHING SUPPORT MATERIAL (LTSM) – part 1</vt:lpstr>
      <vt:lpstr>LEARNING &amp; TEACHING SUPPORT MATERIAL – part 2</vt:lpstr>
      <vt:lpstr>Slide 13</vt:lpstr>
      <vt:lpstr>BURGLARIES/VANDALISM</vt:lpstr>
      <vt:lpstr>COMPARISON: DEC 2020 vs DEC 2021</vt:lpstr>
      <vt:lpstr>Slide 16</vt:lpstr>
      <vt:lpstr>SAMI STATS  ON 25 JUNE 2021 (UNIQUE LEARNERS)</vt:lpstr>
      <vt:lpstr>LEARNER ADMISSIONS 2022</vt:lpstr>
      <vt:lpstr>UNPLACED LEARNERS AT 20 JANUARY 2022</vt:lpstr>
      <vt:lpstr>WCED EFFORTS TO PLACE LEARNERS</vt:lpstr>
      <vt:lpstr>HOT-SPOT AREAS</vt:lpstr>
      <vt:lpstr>THREE CATEGORIES OF LEARNERS FOR PLACEMENT</vt:lpstr>
      <vt:lpstr>WCED ATTEMPTS TO DEAL WITH ACCOMMODATION NEEDS</vt:lpstr>
      <vt:lpstr>RISKS</vt:lpstr>
      <vt:lpstr>CONSIDERATIONS FOR FUTURE MANAGEMENT OF ADMISSIONS</vt:lpstr>
      <vt:lpstr>Slide 26</vt:lpstr>
      <vt:lpstr>LEARNER SUPPORT/COVID READINESS</vt:lpstr>
      <vt:lpstr>WCED Wellness and Psycho-social Support</vt:lpstr>
      <vt:lpstr>GRADE 12 SUPPORT</vt:lpstr>
      <vt:lpstr>Slide 30</vt:lpstr>
      <vt:lpstr>Slide 31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563</cp:revision>
  <cp:lastPrinted>2022-01-20T08:16:43Z</cp:lastPrinted>
  <dcterms:created xsi:type="dcterms:W3CDTF">2017-01-19T08:56:34Z</dcterms:created>
  <dcterms:modified xsi:type="dcterms:W3CDTF">2022-01-26T06:12:39Z</dcterms:modified>
</cp:coreProperties>
</file>